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213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112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29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29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188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9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9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08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26301182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8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2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6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93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Prince </a:t>
            </a:r>
            <a:r>
              <a:rPr lang="en-US" dirty="0" err="1"/>
              <a:t>Agyiri</a:t>
            </a:r>
            <a:r>
              <a:rPr lang="en-US" dirty="0"/>
              <a:t> </a:t>
            </a:r>
            <a:r>
              <a:rPr lang="en-US" sz="4000" dirty="0"/>
              <a:t>– </a:t>
            </a:r>
            <a:r>
              <a:rPr lang="en-US" dirty="0"/>
              <a:t>Analyst</a:t>
            </a:r>
            <a:endParaRPr lang="en-GH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5B3E89-D876-4AA6-ADED-DB1F189B341E}"/>
              </a:ext>
            </a:extLst>
          </p:cNvPr>
          <p:cNvSpPr txBox="1"/>
          <p:nvPr/>
        </p:nvSpPr>
        <p:spPr>
          <a:xfrm>
            <a:off x="7945692" y="1390918"/>
            <a:ext cx="3590369" cy="815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/>
              <a:t>Prince has a </a:t>
            </a:r>
            <a:r>
              <a:rPr lang="en-US" sz="1200" dirty="0">
                <a:solidFill>
                  <a:srgbClr val="FF0000"/>
                </a:solidFill>
              </a:rPr>
              <a:t>MSc. in Biostatistics </a:t>
            </a:r>
            <a:r>
              <a:rPr lang="en-US" sz="1200" dirty="0"/>
              <a:t>from </a:t>
            </a:r>
            <a:r>
              <a:rPr lang="en-US" sz="1200" dirty="0">
                <a:solidFill>
                  <a:srgbClr val="FF0000"/>
                </a:solidFill>
              </a:rPr>
              <a:t>University of Hasselt</a:t>
            </a:r>
            <a:r>
              <a:rPr lang="en-US" sz="1200" dirty="0"/>
              <a:t> (Belgium)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/>
              <a:t>He also has a </a:t>
            </a:r>
            <a:r>
              <a:rPr lang="en-US" sz="1200" dirty="0">
                <a:solidFill>
                  <a:srgbClr val="FF0000"/>
                </a:solidFill>
              </a:rPr>
              <a:t>BSc. in Mathematical Science (Statistics) </a:t>
            </a:r>
            <a:r>
              <a:rPr lang="en-US" sz="1200" dirty="0"/>
              <a:t>from </a:t>
            </a:r>
            <a:r>
              <a:rPr lang="en-US" sz="1200" dirty="0">
                <a:solidFill>
                  <a:srgbClr val="FF0000"/>
                </a:solidFill>
              </a:rPr>
              <a:t>University for Development Studies </a:t>
            </a:r>
            <a:r>
              <a:rPr lang="en-US" sz="1200" dirty="0"/>
              <a:t>(Ghana)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F92F476-1647-904E-90CD-5659456D684C}"/>
              </a:ext>
            </a:extLst>
          </p:cNvPr>
          <p:cNvSpPr txBox="1"/>
          <p:nvPr/>
        </p:nvSpPr>
        <p:spPr>
          <a:xfrm>
            <a:off x="5141843" y="4016574"/>
            <a:ext cx="2536837" cy="10002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/>
              <a:t>Prince is an experienced Biostatistician and Data Analyst with interests in medical research, lecturing and data analysis. 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9C4D820-D56B-2147-9070-B14A3B760B0D}"/>
              </a:ext>
            </a:extLst>
          </p:cNvPr>
          <p:cNvSpPr txBox="1"/>
          <p:nvPr/>
        </p:nvSpPr>
        <p:spPr>
          <a:xfrm>
            <a:off x="742950" y="1398250"/>
            <a:ext cx="4143267" cy="53783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FF0000"/>
                </a:solidFill>
              </a:rPr>
              <a:t>3 years as Research Assistant at Research Centre for Statistics (</a:t>
            </a:r>
            <a:r>
              <a:rPr lang="en-US" sz="1200" dirty="0" err="1">
                <a:solidFill>
                  <a:srgbClr val="FF0000"/>
                </a:solidFill>
              </a:rPr>
              <a:t>CenStat</a:t>
            </a:r>
            <a:r>
              <a:rPr lang="en-US" sz="1200" dirty="0">
                <a:solidFill>
                  <a:srgbClr val="FF0000"/>
                </a:solidFill>
              </a:rPr>
              <a:t>) </a:t>
            </a:r>
            <a:r>
              <a:rPr lang="en-US" sz="1200" dirty="0"/>
              <a:t>(Belgium)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ata cleaning and validation on the data under study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ata exploration and report writing on the structure of the data under study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Propose methodologies for the data type under study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Perform preliminary analysis under the supervision of senior research associate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Interpretation of final results of analysis under the supervision of senior research associates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FF0000"/>
                </a:solidFill>
              </a:rPr>
              <a:t>10 months as Assistant Health Data Analyst at Ashaiman Health Directorate </a:t>
            </a:r>
            <a:r>
              <a:rPr lang="en-US" sz="1200" dirty="0"/>
              <a:t>(Ghana)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ata entering and analysis using DHIMS I software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Interpretation and analysis of health data demographic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ata reporting and presentation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Organizing statistical seminars for hospitals/clinics within the sub – region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Supplying record sheets to hospitals/clinics within the sub - region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FF0000"/>
                </a:solidFill>
              </a:rPr>
              <a:t>2 months as Field Supervisor, Integrated Business Establishment Survey (IBES) at Ghana Statistical Service on a GSS/UK-DFID/The World Bank project </a:t>
            </a:r>
            <a:r>
              <a:rPr lang="en-US" sz="1200" dirty="0"/>
              <a:t>(Ghana)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Assigned ISIC codes to the establishment activities described in the ISIC Rev 4 book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Oversaw, monitored and corrected the work of the enumerators and data capture staff as a team leader</a:t>
            </a:r>
          </a:p>
        </p:txBody>
      </p:sp>
      <p:sp>
        <p:nvSpPr>
          <p:cNvPr id="25" name="Rectangle: Single Corner Rounded 24">
            <a:extLst>
              <a:ext uri="{FF2B5EF4-FFF2-40B4-BE49-F238E27FC236}">
                <a16:creationId xmlns:a16="http://schemas.microsoft.com/office/drawing/2014/main" id="{B1081F4D-78CA-4D3A-8CCD-B6FCA2EE3701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56A5C28D-C584-4E00-9C1A-87C143B9287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sp>
        <p:nvSpPr>
          <p:cNvPr id="27" name="Rectangle: Single Corner Rounded 26">
            <a:extLst>
              <a:ext uri="{FF2B5EF4-FFF2-40B4-BE49-F238E27FC236}">
                <a16:creationId xmlns:a16="http://schemas.microsoft.com/office/drawing/2014/main" id="{CDFCDB0D-2B0E-44DC-83A0-88511A00BE9C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3A2F9661-3364-4B0A-9617-489C1BF4F33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63389" y="967232"/>
            <a:ext cx="340892" cy="343274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CF794189-3FAB-4D59-BB0E-F03ECB86E164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35582" y="1040617"/>
            <a:ext cx="196505" cy="196505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B46DAB09-6CDB-4E98-82BA-B21A2368FCDA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FC611C2-CF82-3C48-8718-83F3FE2A131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3545841447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475</TotalTime>
  <Words>252</Words>
  <Application>Microsoft Macintosh PowerPoint</Application>
  <PresentationFormat>Widescreen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Prince Agyiri – Analy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738</cp:revision>
  <dcterms:created xsi:type="dcterms:W3CDTF">2020-03-25T12:28:14Z</dcterms:created>
  <dcterms:modified xsi:type="dcterms:W3CDTF">2020-10-29T11:19:33Z</dcterms:modified>
</cp:coreProperties>
</file>